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heme/theme7.xml" ContentType="application/vnd.openxmlformats-officedocument.theme+xml"/>
  <Override PartName="/ppt/tags/tag5.xml" ContentType="application/vnd.openxmlformats-officedocument.presentationml.tags+xml"/>
  <Override PartName="/ppt/theme/theme8.xml" ContentType="application/vnd.openxmlformats-officedocument.theme+xml"/>
  <Override PartName="/ppt/tags/tag6.xml" ContentType="application/vnd.openxmlformats-officedocument.presentationml.tags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93455" r:id="rId4"/>
    <p:sldMasterId id="2147493483" r:id="rId5"/>
    <p:sldMasterId id="2147493505" r:id="rId6"/>
    <p:sldMasterId id="2147493507" r:id="rId7"/>
    <p:sldMasterId id="2147493509" r:id="rId8"/>
    <p:sldMasterId id="2147493511" r:id="rId9"/>
    <p:sldMasterId id="2147493513" r:id="rId10"/>
    <p:sldMasterId id="2147493515" r:id="rId11"/>
  </p:sldMasterIdLst>
  <p:notesMasterIdLst>
    <p:notesMasterId r:id="rId17"/>
  </p:notesMasterIdLst>
  <p:sldIdLst>
    <p:sldId id="285" r:id="rId12"/>
    <p:sldId id="421" r:id="rId13"/>
    <p:sldId id="443" r:id="rId14"/>
    <p:sldId id="422" r:id="rId15"/>
    <p:sldId id="288" r:id="rId16"/>
  </p:sldIdLst>
  <p:sldSz cx="9144000" cy="5143500" type="screen16x9"/>
  <p:notesSz cx="6858000" cy="9144000"/>
  <p:defaultTextStyle>
    <a:defPPr>
      <a:defRPr lang="en-US"/>
    </a:defPPr>
    <a:lvl1pPr marL="0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8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2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45718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394">
          <p15:clr>
            <a:srgbClr val="A4A3A4"/>
          </p15:clr>
        </p15:guide>
        <p15:guide id="2" pos="287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A3169"/>
    <a:srgbClr val="62234C"/>
    <a:srgbClr val="16001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741" autoAdjust="0"/>
    <p:restoredTop sz="79517" autoAdjust="0"/>
  </p:normalViewPr>
  <p:slideViewPr>
    <p:cSldViewPr snapToGrid="0" snapToObjects="1">
      <p:cViewPr varScale="1">
        <p:scale>
          <a:sx n="122" d="100"/>
          <a:sy n="122" d="100"/>
        </p:scale>
        <p:origin x="1392" y="102"/>
      </p:cViewPr>
      <p:guideLst>
        <p:guide orient="horz" pos="1394"/>
        <p:guide pos="287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-16589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10" Type="http://schemas.openxmlformats.org/officeDocument/2006/relationships/slideMaster" Target="slideMasters/slideMaster7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8792D4-EBD1-9C42-9FB4-E233CFDF4564}" type="datetimeFigureOut">
              <a:rPr lang="en-US" smtClean="0"/>
              <a:t>11/28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369730-C3D6-C640-905E-212C13C752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19770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8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2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45718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EDC95DB-0F5D-4F71-84CC-21286EB445AC}" type="slidenum">
              <a:rPr lang="en-GB" smtClean="0">
                <a:solidFill>
                  <a:prstClr val="black"/>
                </a:solidFill>
              </a:rPr>
              <a:pPr/>
              <a:t>3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05774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33524 CCN_16-9 PPT Ttile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 userDrawn="1"/>
        </p:nvSpPr>
        <p:spPr>
          <a:xfrm>
            <a:off x="7461992" y="4646445"/>
            <a:ext cx="1540073" cy="308431"/>
          </a:xfrm>
          <a:prstGeom prst="rect">
            <a:avLst/>
          </a:prstGeom>
        </p:spPr>
        <p:txBody>
          <a:bodyPr lIns="91438" tIns="45719" rIns="91438" bIns="45719" anchor="ctr">
            <a:normAutofit fontScale="85000" lnSpcReduction="2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2000" dirty="0" smtClean="0">
                <a:solidFill>
                  <a:schemeClr val="bg1"/>
                </a:solidFill>
                <a:latin typeface="DIN-Medium"/>
                <a:cs typeface="DIN-Medium"/>
              </a:rPr>
              <a:t>#</a:t>
            </a:r>
            <a:r>
              <a:rPr lang="en-US" sz="2000" dirty="0" err="1" smtClean="0">
                <a:solidFill>
                  <a:schemeClr val="bg1"/>
                </a:solidFill>
                <a:latin typeface="DIN-Medium"/>
                <a:cs typeface="DIN-Medium"/>
              </a:rPr>
              <a:t>ccnconf</a:t>
            </a:r>
            <a:endParaRPr lang="en-US" sz="1500" dirty="0">
              <a:solidFill>
                <a:schemeClr val="bg1"/>
              </a:solidFill>
              <a:latin typeface="DIN-Regular"/>
              <a:cs typeface="DIN-Regular"/>
            </a:endParaRPr>
          </a:p>
        </p:txBody>
      </p:sp>
    </p:spTree>
    <p:extLst>
      <p:ext uri="{BB962C8B-B14F-4D97-AF65-F5344CB8AC3E}">
        <p14:creationId xmlns:p14="http://schemas.microsoft.com/office/powerpoint/2010/main" val="17283514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43533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4"/>
            <a:ext cx="77724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87478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141480"/>
            <a:ext cx="8229600" cy="594066"/>
          </a:xfrm>
        </p:spPr>
        <p:txBody>
          <a:bodyPr/>
          <a:lstStyle>
            <a:lvl1pPr>
              <a:defRPr sz="270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288" y="843561"/>
            <a:ext cx="8229600" cy="375106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98765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image" Target="../media/image1.jp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1.bin"/><Relationship Id="rId4" Type="http://schemas.openxmlformats.org/officeDocument/2006/relationships/vmlDrawing" Target="../drawings/vmlDrawing1.v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vmlDrawing" Target="../drawings/vmlDrawing2.vml"/><Relationship Id="rId1" Type="http://schemas.openxmlformats.org/officeDocument/2006/relationships/theme" Target="../theme/theme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vmlDrawing" Target="../drawings/vmlDrawing3.vml"/><Relationship Id="rId1" Type="http://schemas.openxmlformats.org/officeDocument/2006/relationships/theme" Target="../theme/theme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vmlDrawing" Target="../drawings/vmlDrawing4.vml"/><Relationship Id="rId1" Type="http://schemas.openxmlformats.org/officeDocument/2006/relationships/theme" Target="../theme/theme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vmlDrawing" Target="../drawings/vmlDrawing5.vml"/><Relationship Id="rId1" Type="http://schemas.openxmlformats.org/officeDocument/2006/relationships/theme" Target="../theme/theme6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vmlDrawing" Target="../drawings/vmlDrawing6.vml"/><Relationship Id="rId1" Type="http://schemas.openxmlformats.org/officeDocument/2006/relationships/theme" Target="../theme/theme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vmlDrawing" Target="../drawings/vmlDrawing7.vml"/><Relationship Id="rId1" Type="http://schemas.openxmlformats.org/officeDocument/2006/relationships/theme" Target="../theme/theme8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 userDrawn="1"/>
        </p:nvSpPr>
        <p:spPr>
          <a:xfrm>
            <a:off x="7461992" y="4646445"/>
            <a:ext cx="1540073" cy="308431"/>
          </a:xfrm>
          <a:prstGeom prst="rect">
            <a:avLst/>
          </a:prstGeom>
        </p:spPr>
        <p:txBody>
          <a:bodyPr lIns="91438" tIns="45719" rIns="91438" bIns="45719" anchor="ctr">
            <a:normAutofit fontScale="85000" lnSpcReduction="2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2000" dirty="0" smtClean="0">
                <a:solidFill>
                  <a:schemeClr val="bg1"/>
                </a:solidFill>
                <a:latin typeface="DIN-Medium"/>
                <a:cs typeface="DIN-Medium"/>
              </a:rPr>
              <a:t>#</a:t>
            </a:r>
            <a:r>
              <a:rPr lang="en-US" sz="2000" dirty="0" err="1" smtClean="0">
                <a:solidFill>
                  <a:schemeClr val="bg1"/>
                </a:solidFill>
                <a:latin typeface="DIN-Medium"/>
                <a:cs typeface="DIN-Medium"/>
              </a:rPr>
              <a:t>ccnconf</a:t>
            </a:r>
            <a:endParaRPr lang="en-US" sz="1500" dirty="0">
              <a:solidFill>
                <a:schemeClr val="bg1"/>
              </a:solidFill>
              <a:latin typeface="DIN-Regular"/>
              <a:cs typeface="DIN-Regular"/>
            </a:endParaRPr>
          </a:p>
        </p:txBody>
      </p:sp>
    </p:spTree>
    <p:extLst>
      <p:ext uri="{BB962C8B-B14F-4D97-AF65-F5344CB8AC3E}">
        <p14:creationId xmlns:p14="http://schemas.microsoft.com/office/powerpoint/2010/main" val="36938435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56" r:id="rId1"/>
    <p:sldLayoutId id="2147493457" r:id="rId2"/>
  </p:sldLayoutIdLst>
  <p:txStyles>
    <p:titleStyle>
      <a:lvl1pPr algn="ctr" defTabSz="457189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92" indent="-342892" algn="l" defTabSz="457189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31" indent="-285743" algn="l" defTabSz="457189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2" indent="-228594" algn="l" defTabSz="45718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8" indent="-228594" algn="l" defTabSz="457189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7"/>
          <p:cNvGraphicFramePr>
            <a:graphicFrameLocks noChangeAspect="1"/>
          </p:cNvGraphicFramePr>
          <p:nvPr/>
        </p:nvGraphicFramePr>
        <p:xfrm>
          <a:off x="15478" y="14287"/>
          <a:ext cx="9128522" cy="51292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1" name="Photo Editor Photo" r:id="rId5" imgW="9142857" imgH="6849431" progId="">
                  <p:embed/>
                </p:oleObj>
              </mc:Choice>
              <mc:Fallback>
                <p:oleObj name="Photo Editor Photo" r:id="rId5" imgW="9142857" imgH="6849431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78" y="14287"/>
                        <a:ext cx="9128522" cy="51292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789384"/>
            <a:ext cx="8229600" cy="3805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365" name="Rectangle 10"/>
          <p:cNvSpPr>
            <a:spLocks noChangeArrowheads="1"/>
          </p:cNvSpPr>
          <p:nvPr/>
        </p:nvSpPr>
        <p:spPr bwMode="auto">
          <a:xfrm>
            <a:off x="251223" y="0"/>
            <a:ext cx="1872853" cy="681038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none" lIns="68580" tIns="34290" rIns="68580" bIns="34290" anchor="ctr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en-US" dirty="0" smtClean="0">
              <a:solidFill>
                <a:srgbClr val="000000"/>
              </a:solidFill>
              <a:ea typeface="ＭＳ Ｐゴシック" charset="0"/>
              <a:cs typeface="Arial" panose="020B0604020202020204" pitchFamily="34" charset="0"/>
            </a:endParaRPr>
          </a:p>
        </p:txBody>
      </p:sp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141685"/>
            <a:ext cx="8229600" cy="432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30" name="Rectangle 5"/>
          <p:cNvSpPr>
            <a:spLocks noChangeArrowheads="1"/>
          </p:cNvSpPr>
          <p:nvPr/>
        </p:nvSpPr>
        <p:spPr bwMode="auto">
          <a:xfrm>
            <a:off x="7997429" y="4775598"/>
            <a:ext cx="650081" cy="178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/>
          <a:lstStyle/>
          <a:p>
            <a:pPr algn="r" defTabSz="914400" eaLnBrk="0" fontAlgn="base" hangingPunct="0">
              <a:spcBef>
                <a:spcPct val="0"/>
              </a:spcBef>
              <a:spcAft>
                <a:spcPct val="0"/>
              </a:spcAft>
            </a:pPr>
            <a:fld id="{1CBA84F0-D46B-6649-96E6-6B71EB01078D}" type="slidenum">
              <a:rPr lang="en-GB" sz="1200" b="1" smtClean="0">
                <a:solidFill>
                  <a:srgbClr val="00B050"/>
                </a:solidFill>
                <a:latin typeface="Calibri" charset="0"/>
                <a:ea typeface="ＭＳ Ｐゴシック" charset="0"/>
                <a:cs typeface="Arial" charset="0"/>
              </a:rPr>
              <a:pPr algn="r" defTabSz="914400"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sz="1200" b="1" smtClean="0">
              <a:solidFill>
                <a:srgbClr val="00B050"/>
              </a:solidFill>
              <a:latin typeface="Calibri" charset="0"/>
              <a:ea typeface="ＭＳ Ｐゴシック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2311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3484" r:id="rId1"/>
    <p:sldLayoutId id="2147493485" r:id="rId2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08348"/>
          </a:solidFill>
          <a:latin typeface="+mj-lt"/>
          <a:ea typeface="ＭＳ Ｐゴシック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08348"/>
          </a:solidFill>
          <a:latin typeface="Calibri" pitchFamily="34" charset="0"/>
          <a:ea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08348"/>
          </a:solidFill>
          <a:latin typeface="Calibri" pitchFamily="34" charset="0"/>
          <a:ea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08348"/>
          </a:solidFill>
          <a:latin typeface="Calibri" pitchFamily="34" charset="0"/>
          <a:ea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08348"/>
          </a:solidFill>
          <a:latin typeface="Calibri" pitchFamily="34" charset="0"/>
          <a:ea typeface="ＭＳ Ｐゴシック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3300" b="1">
          <a:solidFill>
            <a:srgbClr val="008348"/>
          </a:solidFill>
          <a:latin typeface="Calibri" pitchFamily="34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3300" b="1">
          <a:solidFill>
            <a:srgbClr val="008348"/>
          </a:solidFill>
          <a:latin typeface="Calibri" pitchFamily="34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3300" b="1">
          <a:solidFill>
            <a:srgbClr val="008348"/>
          </a:solidFill>
          <a:latin typeface="Calibri" pitchFamily="34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3300" b="1">
          <a:solidFill>
            <a:srgbClr val="008348"/>
          </a:solidFill>
          <a:latin typeface="Calibri" pitchFamily="34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Char char="–"/>
        <a:defRPr sz="2100">
          <a:solidFill>
            <a:schemeClr val="tx1"/>
          </a:solidFill>
          <a:latin typeface="+mn-lt"/>
          <a:ea typeface="ＭＳ Ｐゴシック" charset="0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Char char="•"/>
        <a:defRPr sz="1800">
          <a:solidFill>
            <a:schemeClr val="tx1"/>
          </a:solidFill>
          <a:latin typeface="+mn-lt"/>
          <a:ea typeface="ＭＳ Ｐゴシック" charset="0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Char char="–"/>
        <a:defRPr sz="1500">
          <a:solidFill>
            <a:schemeClr val="tx1"/>
          </a:solidFill>
          <a:latin typeface="+mn-lt"/>
          <a:ea typeface="ＭＳ Ｐゴシック" charset="0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  <a:ea typeface="ＭＳ Ｐゴシック" charset="0"/>
        </a:defRPr>
      </a:lvl5pPr>
      <a:lvl6pPr marL="18859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6pPr>
      <a:lvl7pPr marL="22288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7pPr>
      <a:lvl8pPr marL="25717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8pPr>
      <a:lvl9pPr marL="2914650" indent="-171450" algn="l" rtl="0" fontAlgn="base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15162327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1638" y="198014"/>
            <a:ext cx="8683964" cy="418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400" dirty="0" smtClean="0">
                <a:solidFill>
                  <a:srgbClr val="808080"/>
                </a:solidFill>
                <a:ea typeface="Arial Unicode MS" pitchFamily="34" charset="-128"/>
                <a:cs typeface="Arial Unicode MS" pitchFamily="34" charset="-128"/>
              </a:rPr>
              <a:t>TRACKER</a:t>
            </a:r>
            <a:endParaRPr lang="en-GB" sz="1400" dirty="0">
              <a:solidFill>
                <a:srgbClr val="80808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31659" y="542049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00" dirty="0" smtClean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231658" y="4709822"/>
            <a:ext cx="8612691" cy="351080"/>
            <a:chOff x="75" y="3877"/>
            <a:chExt cx="5385" cy="28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000" dirty="0" smtClean="0">
                  <a:solidFill>
                    <a:srgbClr val="009DD9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39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8374" indent="-608374" defTabSz="893548" fontAlgn="base">
                <a:spcBef>
                  <a:spcPct val="0"/>
                </a:spcBef>
                <a:spcAft>
                  <a:spcPct val="0"/>
                </a:spcAft>
                <a:tabLst>
                  <a:tab pos="611542" algn="l"/>
                </a:tabLst>
              </a:pPr>
              <a:r>
                <a:rPr lang="en-GB" sz="1000" dirty="0" smtClean="0">
                  <a:solidFill>
                    <a:srgbClr val="009DD9"/>
                  </a:solidFill>
                  <a:ea typeface="Arial Unicode MS" pitchFamily="34" charset="-128"/>
                  <a:cs typeface="Arial Unicode MS" pitchFamily="34" charset="-128"/>
                </a:rPr>
                <a:t>SOURCE: Source</a:t>
              </a:r>
              <a:endParaRPr lang="en-GB" sz="1000" dirty="0">
                <a:solidFill>
                  <a:srgbClr val="009DD9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739819"/>
            <a:ext cx="4350892" cy="511435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b="1" dirty="0" smtClean="0">
                  <a:solidFill>
                    <a:prstClr val="black"/>
                  </a:solidFill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dirty="0" smtClean="0">
                  <a:solidFill>
                    <a:srgbClr val="808080"/>
                  </a:solidFill>
                  <a:ea typeface="Arial Unicode MS" pitchFamily="34" charset="-128"/>
                  <a:cs typeface="Arial Unicode MS" pitchFamily="34" charset="-128"/>
                </a:rPr>
                <a:t>Unit of measure</a:t>
              </a:r>
              <a:endParaRPr lang="en-GB" sz="1600" dirty="0">
                <a:solidFill>
                  <a:srgbClr val="80808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3" name="Rectangle 2"/>
          <p:cNvSpPr/>
          <p:nvPr/>
        </p:nvSpPr>
        <p:spPr>
          <a:xfrm>
            <a:off x="0" y="15"/>
            <a:ext cx="231638" cy="173718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4" tIns="45629" rIns="91254" bIns="45629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1640674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hdr="0" ftr="0" dt="0"/>
  <p:txStyles>
    <p:titleStyle>
      <a:lvl1pPr algn="l" defTabSz="893548" rtl="0" eaLnBrk="1" fontAlgn="base" hangingPunct="1">
        <a:lnSpc>
          <a:spcPct val="85000"/>
        </a:lnSpc>
        <a:spcBef>
          <a:spcPct val="0"/>
        </a:spcBef>
        <a:spcAft>
          <a:spcPct val="0"/>
        </a:spcAft>
        <a:tabLst>
          <a:tab pos="361222" algn="l"/>
        </a:tabLst>
        <a:defRPr sz="3200" b="0">
          <a:solidFill>
            <a:schemeClr val="accent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269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2561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8842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5120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286" indent="-19170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6269" indent="-261411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3128" indent="-155264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6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561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842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12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40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67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95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241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77573532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1638" y="198014"/>
            <a:ext cx="8683964" cy="418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400" dirty="0" smtClean="0">
                <a:solidFill>
                  <a:srgbClr val="808080"/>
                </a:solidFill>
                <a:ea typeface="Arial Unicode MS" pitchFamily="34" charset="-128"/>
                <a:cs typeface="Arial Unicode MS" pitchFamily="34" charset="-128"/>
              </a:rPr>
              <a:t>TRACKER</a:t>
            </a:r>
            <a:endParaRPr lang="en-GB" sz="1400" dirty="0">
              <a:solidFill>
                <a:srgbClr val="80808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31659" y="542049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00" dirty="0" smtClean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231658" y="4709822"/>
            <a:ext cx="8612691" cy="351080"/>
            <a:chOff x="75" y="3877"/>
            <a:chExt cx="5385" cy="28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000" dirty="0" smtClean="0">
                  <a:solidFill>
                    <a:srgbClr val="009DD9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39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8374" indent="-608374" defTabSz="893548" fontAlgn="base">
                <a:spcBef>
                  <a:spcPct val="0"/>
                </a:spcBef>
                <a:spcAft>
                  <a:spcPct val="0"/>
                </a:spcAft>
                <a:tabLst>
                  <a:tab pos="611542" algn="l"/>
                </a:tabLst>
              </a:pPr>
              <a:r>
                <a:rPr lang="en-GB" sz="1000" dirty="0" smtClean="0">
                  <a:solidFill>
                    <a:srgbClr val="009DD9"/>
                  </a:solidFill>
                  <a:ea typeface="Arial Unicode MS" pitchFamily="34" charset="-128"/>
                  <a:cs typeface="Arial Unicode MS" pitchFamily="34" charset="-128"/>
                </a:rPr>
                <a:t>SOURCE: Source</a:t>
              </a:r>
              <a:endParaRPr lang="en-GB" sz="1000" dirty="0">
                <a:solidFill>
                  <a:srgbClr val="009DD9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739819"/>
            <a:ext cx="4350892" cy="511435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b="1" dirty="0" smtClean="0">
                  <a:solidFill>
                    <a:prstClr val="black"/>
                  </a:solidFill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dirty="0" smtClean="0">
                  <a:solidFill>
                    <a:srgbClr val="808080"/>
                  </a:solidFill>
                  <a:ea typeface="Arial Unicode MS" pitchFamily="34" charset="-128"/>
                  <a:cs typeface="Arial Unicode MS" pitchFamily="34" charset="-128"/>
                </a:rPr>
                <a:t>Unit of measure</a:t>
              </a:r>
              <a:endParaRPr lang="en-GB" sz="1600" dirty="0">
                <a:solidFill>
                  <a:srgbClr val="80808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3" name="Rectangle 2"/>
          <p:cNvSpPr/>
          <p:nvPr/>
        </p:nvSpPr>
        <p:spPr>
          <a:xfrm>
            <a:off x="0" y="15"/>
            <a:ext cx="231638" cy="173718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4" tIns="45629" rIns="91254" bIns="45629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1255940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hdr="0" ftr="0" dt="0"/>
  <p:txStyles>
    <p:titleStyle>
      <a:lvl1pPr algn="l" defTabSz="893548" rtl="0" eaLnBrk="1" fontAlgn="base" hangingPunct="1">
        <a:lnSpc>
          <a:spcPct val="85000"/>
        </a:lnSpc>
        <a:spcBef>
          <a:spcPct val="0"/>
        </a:spcBef>
        <a:spcAft>
          <a:spcPct val="0"/>
        </a:spcAft>
        <a:tabLst>
          <a:tab pos="361222" algn="l"/>
        </a:tabLst>
        <a:defRPr sz="3200" b="0">
          <a:solidFill>
            <a:schemeClr val="accent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269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2561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8842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5120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286" indent="-19170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6269" indent="-261411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3128" indent="-155264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6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561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842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12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40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67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95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241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62456362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1638" y="198014"/>
            <a:ext cx="8683964" cy="418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400" dirty="0" smtClean="0">
                <a:solidFill>
                  <a:srgbClr val="808080"/>
                </a:solidFill>
                <a:ea typeface="Arial Unicode MS" pitchFamily="34" charset="-128"/>
                <a:cs typeface="Arial Unicode MS" pitchFamily="34" charset="-128"/>
              </a:rPr>
              <a:t>TRACKER</a:t>
            </a:r>
            <a:endParaRPr lang="en-GB" sz="1400" dirty="0">
              <a:solidFill>
                <a:srgbClr val="80808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31659" y="542049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00" dirty="0" smtClean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231658" y="4709822"/>
            <a:ext cx="8612691" cy="351080"/>
            <a:chOff x="75" y="3877"/>
            <a:chExt cx="5385" cy="28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000" dirty="0" smtClean="0">
                  <a:solidFill>
                    <a:srgbClr val="009DD9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39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8374" indent="-608374" defTabSz="893548" fontAlgn="base">
                <a:spcBef>
                  <a:spcPct val="0"/>
                </a:spcBef>
                <a:spcAft>
                  <a:spcPct val="0"/>
                </a:spcAft>
                <a:tabLst>
                  <a:tab pos="611542" algn="l"/>
                </a:tabLst>
              </a:pPr>
              <a:r>
                <a:rPr lang="en-GB" sz="1000" dirty="0" smtClean="0">
                  <a:solidFill>
                    <a:srgbClr val="009DD9"/>
                  </a:solidFill>
                  <a:ea typeface="Arial Unicode MS" pitchFamily="34" charset="-128"/>
                  <a:cs typeface="Arial Unicode MS" pitchFamily="34" charset="-128"/>
                </a:rPr>
                <a:t>SOURCE: Source</a:t>
              </a:r>
              <a:endParaRPr lang="en-GB" sz="1000" dirty="0">
                <a:solidFill>
                  <a:srgbClr val="009DD9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739819"/>
            <a:ext cx="4350892" cy="511435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b="1" dirty="0" smtClean="0">
                  <a:solidFill>
                    <a:prstClr val="black"/>
                  </a:solidFill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dirty="0" smtClean="0">
                  <a:solidFill>
                    <a:srgbClr val="808080"/>
                  </a:solidFill>
                  <a:ea typeface="Arial Unicode MS" pitchFamily="34" charset="-128"/>
                  <a:cs typeface="Arial Unicode MS" pitchFamily="34" charset="-128"/>
                </a:rPr>
                <a:t>Unit of measure</a:t>
              </a:r>
              <a:endParaRPr lang="en-GB" sz="1600" dirty="0">
                <a:solidFill>
                  <a:srgbClr val="80808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3" name="Rectangle 2"/>
          <p:cNvSpPr/>
          <p:nvPr/>
        </p:nvSpPr>
        <p:spPr>
          <a:xfrm>
            <a:off x="0" y="15"/>
            <a:ext cx="231638" cy="173718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4" tIns="45629" rIns="91254" bIns="45629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3104657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hdr="0" ftr="0" dt="0"/>
  <p:txStyles>
    <p:titleStyle>
      <a:lvl1pPr algn="l" defTabSz="893548" rtl="0" eaLnBrk="1" fontAlgn="base" hangingPunct="1">
        <a:lnSpc>
          <a:spcPct val="85000"/>
        </a:lnSpc>
        <a:spcBef>
          <a:spcPct val="0"/>
        </a:spcBef>
        <a:spcAft>
          <a:spcPct val="0"/>
        </a:spcAft>
        <a:tabLst>
          <a:tab pos="361222" algn="l"/>
        </a:tabLst>
        <a:defRPr sz="3200" b="0">
          <a:solidFill>
            <a:schemeClr val="accent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269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2561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8842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5120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286" indent="-19170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6269" indent="-261411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3128" indent="-155264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6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561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842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12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40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67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95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241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721502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1638" y="198014"/>
            <a:ext cx="8683964" cy="418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400" dirty="0" smtClean="0">
                <a:solidFill>
                  <a:srgbClr val="808080"/>
                </a:solidFill>
                <a:ea typeface="Arial Unicode MS" pitchFamily="34" charset="-128"/>
                <a:cs typeface="Arial Unicode MS" pitchFamily="34" charset="-128"/>
              </a:rPr>
              <a:t>TRACKER</a:t>
            </a:r>
            <a:endParaRPr lang="en-GB" sz="1400" dirty="0">
              <a:solidFill>
                <a:srgbClr val="80808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31659" y="542049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00" dirty="0" smtClean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231658" y="4709822"/>
            <a:ext cx="8612691" cy="351080"/>
            <a:chOff x="75" y="3877"/>
            <a:chExt cx="5385" cy="28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000" dirty="0" smtClean="0">
                  <a:solidFill>
                    <a:srgbClr val="009DD9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39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8374" indent="-608374" defTabSz="893548" fontAlgn="base">
                <a:spcBef>
                  <a:spcPct val="0"/>
                </a:spcBef>
                <a:spcAft>
                  <a:spcPct val="0"/>
                </a:spcAft>
                <a:tabLst>
                  <a:tab pos="611542" algn="l"/>
                </a:tabLst>
              </a:pPr>
              <a:r>
                <a:rPr lang="en-GB" sz="1000" dirty="0" smtClean="0">
                  <a:solidFill>
                    <a:srgbClr val="009DD9"/>
                  </a:solidFill>
                  <a:ea typeface="Arial Unicode MS" pitchFamily="34" charset="-128"/>
                  <a:cs typeface="Arial Unicode MS" pitchFamily="34" charset="-128"/>
                </a:rPr>
                <a:t>SOURCE: Source</a:t>
              </a:r>
              <a:endParaRPr lang="en-GB" sz="1000" dirty="0">
                <a:solidFill>
                  <a:srgbClr val="009DD9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739819"/>
            <a:ext cx="4350892" cy="511435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b="1" dirty="0" smtClean="0">
                  <a:solidFill>
                    <a:prstClr val="black"/>
                  </a:solidFill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dirty="0" smtClean="0">
                  <a:solidFill>
                    <a:srgbClr val="808080"/>
                  </a:solidFill>
                  <a:ea typeface="Arial Unicode MS" pitchFamily="34" charset="-128"/>
                  <a:cs typeface="Arial Unicode MS" pitchFamily="34" charset="-128"/>
                </a:rPr>
                <a:t>Unit of measure</a:t>
              </a:r>
              <a:endParaRPr lang="en-GB" sz="1600" dirty="0">
                <a:solidFill>
                  <a:srgbClr val="80808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3" name="Rectangle 2"/>
          <p:cNvSpPr/>
          <p:nvPr/>
        </p:nvSpPr>
        <p:spPr>
          <a:xfrm>
            <a:off x="0" y="15"/>
            <a:ext cx="231638" cy="173718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4" tIns="45629" rIns="91254" bIns="45629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7953705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hdr="0" ftr="0" dt="0"/>
  <p:txStyles>
    <p:titleStyle>
      <a:lvl1pPr algn="l" defTabSz="893548" rtl="0" eaLnBrk="1" fontAlgn="base" hangingPunct="1">
        <a:lnSpc>
          <a:spcPct val="85000"/>
        </a:lnSpc>
        <a:spcBef>
          <a:spcPct val="0"/>
        </a:spcBef>
        <a:spcAft>
          <a:spcPct val="0"/>
        </a:spcAft>
        <a:tabLst>
          <a:tab pos="361222" algn="l"/>
        </a:tabLst>
        <a:defRPr sz="3200" b="0">
          <a:solidFill>
            <a:schemeClr val="accent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269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2561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8842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5120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286" indent="-19170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6269" indent="-261411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3128" indent="-155264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6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561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842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12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40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67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95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241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35440473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1638" y="198014"/>
            <a:ext cx="8683964" cy="418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400" dirty="0" smtClean="0">
                <a:solidFill>
                  <a:srgbClr val="808080"/>
                </a:solidFill>
                <a:ea typeface="Arial Unicode MS" pitchFamily="34" charset="-128"/>
                <a:cs typeface="Arial Unicode MS" pitchFamily="34" charset="-128"/>
              </a:rPr>
              <a:t>TRACKER</a:t>
            </a:r>
            <a:endParaRPr lang="en-GB" sz="1400" dirty="0">
              <a:solidFill>
                <a:srgbClr val="80808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31659" y="542049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00" dirty="0" smtClean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231658" y="4709822"/>
            <a:ext cx="8612691" cy="351080"/>
            <a:chOff x="75" y="3877"/>
            <a:chExt cx="5385" cy="28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000" dirty="0" smtClean="0">
                  <a:solidFill>
                    <a:srgbClr val="009DD9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39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8374" indent="-608374" defTabSz="893548" fontAlgn="base">
                <a:spcBef>
                  <a:spcPct val="0"/>
                </a:spcBef>
                <a:spcAft>
                  <a:spcPct val="0"/>
                </a:spcAft>
                <a:tabLst>
                  <a:tab pos="611542" algn="l"/>
                </a:tabLst>
              </a:pPr>
              <a:r>
                <a:rPr lang="en-GB" sz="1000" dirty="0" smtClean="0">
                  <a:solidFill>
                    <a:srgbClr val="009DD9"/>
                  </a:solidFill>
                  <a:ea typeface="Arial Unicode MS" pitchFamily="34" charset="-128"/>
                  <a:cs typeface="Arial Unicode MS" pitchFamily="34" charset="-128"/>
                </a:rPr>
                <a:t>SOURCE: Source</a:t>
              </a:r>
              <a:endParaRPr lang="en-GB" sz="1000" dirty="0">
                <a:solidFill>
                  <a:srgbClr val="009DD9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739819"/>
            <a:ext cx="4350892" cy="511435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b="1" dirty="0" smtClean="0">
                  <a:solidFill>
                    <a:prstClr val="black"/>
                  </a:solidFill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dirty="0" smtClean="0">
                  <a:solidFill>
                    <a:srgbClr val="808080"/>
                  </a:solidFill>
                  <a:ea typeface="Arial Unicode MS" pitchFamily="34" charset="-128"/>
                  <a:cs typeface="Arial Unicode MS" pitchFamily="34" charset="-128"/>
                </a:rPr>
                <a:t>Unit of measure</a:t>
              </a:r>
              <a:endParaRPr lang="en-GB" sz="1600" dirty="0">
                <a:solidFill>
                  <a:srgbClr val="80808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3" name="Rectangle 2"/>
          <p:cNvSpPr/>
          <p:nvPr/>
        </p:nvSpPr>
        <p:spPr>
          <a:xfrm>
            <a:off x="0" y="15"/>
            <a:ext cx="231638" cy="173718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4" tIns="45629" rIns="91254" bIns="45629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9903108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hdr="0" ftr="0" dt="0"/>
  <p:txStyles>
    <p:titleStyle>
      <a:lvl1pPr algn="l" defTabSz="893548" rtl="0" eaLnBrk="1" fontAlgn="base" hangingPunct="1">
        <a:lnSpc>
          <a:spcPct val="85000"/>
        </a:lnSpc>
        <a:spcBef>
          <a:spcPct val="0"/>
        </a:spcBef>
        <a:spcAft>
          <a:spcPct val="0"/>
        </a:spcAft>
        <a:tabLst>
          <a:tab pos="361222" algn="l"/>
        </a:tabLst>
        <a:defRPr sz="3200" b="0">
          <a:solidFill>
            <a:schemeClr val="accent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269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2561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8842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5120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286" indent="-19170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6269" indent="-261411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3128" indent="-155264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6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561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842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12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40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67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95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241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25222258"/>
              </p:ext>
            </p:ext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493000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1638" y="198014"/>
            <a:ext cx="8683964" cy="418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  <a:endParaRPr lang="en-GB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0652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GB" sz="1400" dirty="0" smtClean="0">
                <a:solidFill>
                  <a:srgbClr val="808080"/>
                </a:solidFill>
                <a:ea typeface="Arial Unicode MS" pitchFamily="34" charset="-128"/>
                <a:cs typeface="Arial Unicode MS" pitchFamily="34" charset="-128"/>
              </a:rPr>
              <a:t>TRACKER</a:t>
            </a:r>
            <a:endParaRPr lang="en-GB" sz="1400" dirty="0">
              <a:solidFill>
                <a:srgbClr val="80808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31659" y="542049"/>
            <a:ext cx="879411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00" dirty="0" smtClean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231658" y="4709822"/>
            <a:ext cx="8612691" cy="351080"/>
            <a:chOff x="75" y="3877"/>
            <a:chExt cx="5385" cy="289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77"/>
              <a:ext cx="5385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000" dirty="0" smtClean="0">
                  <a:solidFill>
                    <a:srgbClr val="009DD9"/>
                  </a:solidFill>
                  <a:latin typeface="Arial"/>
                  <a:ea typeface="Arial Unicode MS" pitchFamily="34" charset="-128"/>
                  <a:cs typeface="Arial Unicode MS" pitchFamily="34" charset="-128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39"/>
              <a:ext cx="4323" cy="1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8374" indent="-608374" defTabSz="893548" fontAlgn="base">
                <a:spcBef>
                  <a:spcPct val="0"/>
                </a:spcBef>
                <a:spcAft>
                  <a:spcPct val="0"/>
                </a:spcAft>
                <a:tabLst>
                  <a:tab pos="611542" algn="l"/>
                </a:tabLst>
              </a:pPr>
              <a:r>
                <a:rPr lang="en-GB" sz="1000" dirty="0" smtClean="0">
                  <a:solidFill>
                    <a:srgbClr val="009DD9"/>
                  </a:solidFill>
                  <a:ea typeface="Arial Unicode MS" pitchFamily="34" charset="-128"/>
                  <a:cs typeface="Arial Unicode MS" pitchFamily="34" charset="-128"/>
                </a:rPr>
                <a:t>SOURCE: Source</a:t>
              </a:r>
              <a:endParaRPr lang="en-GB" sz="1000" dirty="0">
                <a:solidFill>
                  <a:srgbClr val="009DD9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5" y="739819"/>
            <a:ext cx="4350892" cy="511435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b="1" dirty="0" smtClean="0">
                  <a:solidFill>
                    <a:prstClr val="black"/>
                  </a:solidFill>
                  <a:ea typeface="Arial Unicode MS" pitchFamily="34" charset="-128"/>
                  <a:cs typeface="Arial Unicode MS" pitchFamily="34" charset="-128"/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dirty="0" smtClean="0">
                  <a:solidFill>
                    <a:srgbClr val="808080"/>
                  </a:solidFill>
                  <a:ea typeface="Arial Unicode MS" pitchFamily="34" charset="-128"/>
                  <a:cs typeface="Arial Unicode MS" pitchFamily="34" charset="-128"/>
                </a:rPr>
                <a:t>Unit of measure</a:t>
              </a:r>
              <a:endParaRPr lang="en-GB" sz="1600" dirty="0">
                <a:solidFill>
                  <a:srgbClr val="80808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3" name="Rectangle 2"/>
          <p:cNvSpPr/>
          <p:nvPr/>
        </p:nvSpPr>
        <p:spPr>
          <a:xfrm>
            <a:off x="0" y="15"/>
            <a:ext cx="231638" cy="173718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54" tIns="45629" rIns="91254" bIns="45629" rtlCol="0" anchor="ctr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8653559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hdr="0" ftr="0" dt="0"/>
  <p:txStyles>
    <p:titleStyle>
      <a:lvl1pPr algn="l" defTabSz="893548" rtl="0" eaLnBrk="1" fontAlgn="base" hangingPunct="1">
        <a:lnSpc>
          <a:spcPct val="85000"/>
        </a:lnSpc>
        <a:spcBef>
          <a:spcPct val="0"/>
        </a:spcBef>
        <a:spcAft>
          <a:spcPct val="0"/>
        </a:spcAft>
        <a:tabLst>
          <a:tab pos="361222" algn="l"/>
        </a:tabLst>
        <a:defRPr sz="3200" b="0">
          <a:solidFill>
            <a:schemeClr val="accent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269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2561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68842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5120" algn="l" defTabSz="893548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3286" indent="-19170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56269" indent="-261411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13128" indent="-155264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8300" indent="-129912" algn="l" defTabSz="89354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6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561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842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12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400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67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959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241" algn="l" defTabSz="9125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42461" y="2448732"/>
            <a:ext cx="7704073" cy="1699936"/>
          </a:xfrm>
          <a:prstGeom prst="rect">
            <a:avLst/>
          </a:prstGeom>
        </p:spPr>
        <p:txBody>
          <a:bodyPr vert="horz" lIns="91438" tIns="45719" rIns="91438" bIns="45719" rtlCol="0"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sz="1800" dirty="0" smtClean="0">
                <a:latin typeface="DIN-Medium"/>
                <a:cs typeface="DIN-Medium"/>
              </a:rPr>
              <a:t>Chaired </a:t>
            </a:r>
            <a:r>
              <a:rPr lang="en-GB" sz="1800" dirty="0">
                <a:latin typeface="DIN-Medium"/>
                <a:cs typeface="DIN-Medium"/>
              </a:rPr>
              <a:t>by: Cllr </a:t>
            </a:r>
            <a:r>
              <a:rPr lang="en-GB" sz="1800" dirty="0" smtClean="0">
                <a:latin typeface="DIN-Medium"/>
                <a:cs typeface="DIN-Medium"/>
              </a:rPr>
              <a:t>Colin Noble</a:t>
            </a:r>
          </a:p>
          <a:p>
            <a:pPr algn="l"/>
            <a:r>
              <a:rPr lang="en-GB" sz="1800" dirty="0" smtClean="0">
                <a:latin typeface="DIN-Medium"/>
                <a:cs typeface="DIN-Medium"/>
              </a:rPr>
              <a:t>CCN </a:t>
            </a:r>
            <a:r>
              <a:rPr lang="en-GB" sz="1800" dirty="0">
                <a:latin typeface="DIN-Medium"/>
                <a:cs typeface="DIN-Medium"/>
              </a:rPr>
              <a:t>Spokesman for </a:t>
            </a:r>
            <a:r>
              <a:rPr lang="en-GB" sz="1800" dirty="0" smtClean="0">
                <a:latin typeface="DIN-Medium"/>
                <a:cs typeface="DIN-Medium"/>
              </a:rPr>
              <a:t>Health and Social Care</a:t>
            </a:r>
            <a:endParaRPr lang="en-US" sz="1800" dirty="0">
              <a:latin typeface="DIN-Medium"/>
              <a:cs typeface="DIN-Medium"/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542460" y="1435636"/>
            <a:ext cx="7280740" cy="1013096"/>
          </a:xfrm>
          <a:prstGeom prst="rect">
            <a:avLst/>
          </a:prstGeom>
        </p:spPr>
        <p:txBody>
          <a:bodyPr lIns="91438" tIns="45719" rIns="91438" bIns="45719"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>
                <a:solidFill>
                  <a:srgbClr val="8A3169"/>
                </a:solidFill>
                <a:latin typeface="DIN-Medium"/>
                <a:cs typeface="DIN-Medium"/>
              </a:rPr>
              <a:t>A Sustainable Solution to Social Care:</a:t>
            </a:r>
          </a:p>
          <a:p>
            <a:pPr algn="l"/>
            <a:r>
              <a:rPr lang="en-US" sz="2000" dirty="0">
                <a:solidFill>
                  <a:srgbClr val="8A3169"/>
                </a:solidFill>
                <a:latin typeface="DIN-Medium"/>
                <a:cs typeface="DIN-Medium"/>
              </a:rPr>
              <a:t>CCN’s approach to the Social care White Paper</a:t>
            </a:r>
          </a:p>
        </p:txBody>
      </p:sp>
    </p:spTree>
    <p:extLst>
      <p:ext uri="{BB962C8B-B14F-4D97-AF65-F5344CB8AC3E}">
        <p14:creationId xmlns:p14="http://schemas.microsoft.com/office/powerpoint/2010/main" val="2680117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42461" y="2448732"/>
            <a:ext cx="7704073" cy="1699936"/>
          </a:xfrm>
          <a:prstGeom prst="rect">
            <a:avLst/>
          </a:prstGeom>
        </p:spPr>
        <p:txBody>
          <a:bodyPr vert="horz" lIns="91438" tIns="45719" rIns="91438" bIns="45719" rtlCol="0"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sz="1800" dirty="0" smtClean="0">
                <a:latin typeface="DIN-Medium"/>
                <a:cs typeface="DIN-Medium"/>
              </a:rPr>
              <a:t>Michael </a:t>
            </a:r>
            <a:r>
              <a:rPr lang="en-GB" sz="1800" dirty="0" err="1" smtClean="0">
                <a:latin typeface="DIN-Medium"/>
                <a:cs typeface="DIN-Medium"/>
              </a:rPr>
              <a:t>Macdonnell</a:t>
            </a:r>
            <a:endParaRPr lang="en-GB" sz="1800" dirty="0">
              <a:latin typeface="DIN-Medium"/>
              <a:cs typeface="DIN-Medium"/>
            </a:endParaRPr>
          </a:p>
          <a:p>
            <a:pPr algn="l"/>
            <a:r>
              <a:rPr lang="en-US" sz="1800" dirty="0" smtClean="0">
                <a:latin typeface="DIN-Medium"/>
                <a:cs typeface="DIN-Medium"/>
              </a:rPr>
              <a:t>National Director of Health System Transformation NHS England </a:t>
            </a:r>
            <a:endParaRPr lang="en-GB" sz="1800" dirty="0">
              <a:latin typeface="DIN-Medium"/>
              <a:cs typeface="DIN-Medium"/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542460" y="1435636"/>
            <a:ext cx="7280740" cy="1013096"/>
          </a:xfrm>
          <a:prstGeom prst="rect">
            <a:avLst/>
          </a:prstGeom>
        </p:spPr>
        <p:txBody>
          <a:bodyPr lIns="91438" tIns="45719" rIns="91438" bIns="45719"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>
                <a:solidFill>
                  <a:srgbClr val="8A3169"/>
                </a:solidFill>
                <a:latin typeface="DIN-Medium"/>
                <a:cs typeface="DIN-Medium"/>
              </a:rPr>
              <a:t>A Sustainable Solution to Social </a:t>
            </a:r>
            <a:r>
              <a:rPr lang="en-US" sz="3200" dirty="0" smtClean="0">
                <a:solidFill>
                  <a:srgbClr val="8A3169"/>
                </a:solidFill>
                <a:latin typeface="DIN-Medium"/>
                <a:cs typeface="DIN-Medium"/>
              </a:rPr>
              <a:t>Care</a:t>
            </a:r>
            <a:endParaRPr lang="en-US" sz="3200" dirty="0">
              <a:solidFill>
                <a:srgbClr val="8A3169"/>
              </a:solidFill>
              <a:latin typeface="DIN-Medium"/>
              <a:cs typeface="DIN-Medium"/>
            </a:endParaRPr>
          </a:p>
        </p:txBody>
      </p:sp>
    </p:spTree>
    <p:extLst>
      <p:ext uri="{BB962C8B-B14F-4D97-AF65-F5344CB8AC3E}">
        <p14:creationId xmlns:p14="http://schemas.microsoft.com/office/powerpoint/2010/main" val="3354992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>
          <a:xfrm>
            <a:off x="942975" y="1643530"/>
            <a:ext cx="7165181" cy="2547470"/>
          </a:xfrm>
          <a:prstGeom prst="rect">
            <a:avLst/>
          </a:prstGeom>
        </p:spPr>
        <p:txBody>
          <a:bodyPr vert="horz" lIns="91438" tIns="45719" rIns="91438" bIns="45719" rtlCol="0"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ts val="2000"/>
              </a:lnSpc>
              <a:spcAft>
                <a:spcPts val="600"/>
              </a:spcAft>
            </a:pPr>
            <a:r>
              <a:rPr lang="en-GB" sz="1600" dirty="0">
                <a:latin typeface="DIN-Medium"/>
                <a:cs typeface="DIN-Medium"/>
              </a:rPr>
              <a:t>Meaningful health </a:t>
            </a:r>
            <a:r>
              <a:rPr lang="en-GB" sz="1600" b="1" dirty="0">
                <a:latin typeface="DIN-Medium"/>
                <a:cs typeface="DIN-Medium"/>
              </a:rPr>
              <a:t>systems will develop</a:t>
            </a:r>
            <a:r>
              <a:rPr lang="en-GB" sz="1600" dirty="0">
                <a:latin typeface="DIN-Medium"/>
                <a:cs typeface="DIN-Medium"/>
              </a:rPr>
              <a:t>, at different speeds</a:t>
            </a:r>
          </a:p>
          <a:p>
            <a:pPr algn="l">
              <a:lnSpc>
                <a:spcPts val="2000"/>
              </a:lnSpc>
              <a:spcAft>
                <a:spcPts val="600"/>
              </a:spcAft>
            </a:pPr>
            <a:r>
              <a:rPr lang="en-GB" sz="1600" dirty="0"/>
              <a:t>Systems will seek  to </a:t>
            </a:r>
            <a:r>
              <a:rPr lang="en-GB" sz="1600" b="1" dirty="0"/>
              <a:t>simplify and ‘declutter’</a:t>
            </a:r>
          </a:p>
          <a:p>
            <a:pPr algn="l">
              <a:lnSpc>
                <a:spcPts val="2000"/>
              </a:lnSpc>
              <a:spcAft>
                <a:spcPts val="600"/>
              </a:spcAft>
            </a:pPr>
            <a:r>
              <a:rPr lang="en-GB" sz="1600" b="1" dirty="0"/>
              <a:t>Local government leadership </a:t>
            </a:r>
            <a:r>
              <a:rPr lang="en-GB" sz="1600" dirty="0"/>
              <a:t>will mark the best systems </a:t>
            </a:r>
          </a:p>
          <a:p>
            <a:pPr algn="l">
              <a:lnSpc>
                <a:spcPts val="2000"/>
              </a:lnSpc>
              <a:spcAft>
                <a:spcPts val="600"/>
              </a:spcAft>
            </a:pPr>
            <a:r>
              <a:rPr lang="en-GB" sz="1600" dirty="0"/>
              <a:t>Systems will </a:t>
            </a:r>
            <a:r>
              <a:rPr lang="en-GB" sz="1600" b="1" dirty="0"/>
              <a:t>integrate services</a:t>
            </a:r>
            <a:r>
              <a:rPr lang="en-GB" sz="1600" dirty="0"/>
              <a:t>, both within the NHS and with social care, whatever becomes of the Green </a:t>
            </a:r>
            <a:r>
              <a:rPr lang="en-GB" sz="1600" dirty="0" smtClean="0"/>
              <a:t>Paper</a:t>
            </a:r>
          </a:p>
          <a:p>
            <a:pPr algn="l">
              <a:lnSpc>
                <a:spcPts val="2000"/>
              </a:lnSpc>
              <a:spcAft>
                <a:spcPts val="600"/>
              </a:spcAft>
            </a:pPr>
            <a:r>
              <a:rPr lang="en-GB" sz="1600" dirty="0"/>
              <a:t>The need to moderate demand for NHS services will impel systems to </a:t>
            </a:r>
            <a:r>
              <a:rPr lang="en-GB" sz="1600" b="1" dirty="0"/>
              <a:t>focus more on ‘population health’ </a:t>
            </a:r>
            <a:r>
              <a:rPr lang="en-GB" sz="1600" dirty="0"/>
              <a:t>and to work with upstream </a:t>
            </a:r>
            <a:r>
              <a:rPr lang="en-GB" sz="1600" dirty="0" smtClean="0"/>
              <a:t>services</a:t>
            </a:r>
            <a:endParaRPr lang="en-GB" sz="1600" dirty="0"/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542461" y="1051200"/>
            <a:ext cx="7022770" cy="768874"/>
          </a:xfrm>
          <a:prstGeom prst="rect">
            <a:avLst/>
          </a:prstGeom>
        </p:spPr>
        <p:txBody>
          <a:bodyPr lIns="91438" tIns="45719" rIns="91438" bIns="45719" anchor="t">
            <a:normAutofit fontScale="85000" lnSpcReduction="1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sz="3500" dirty="0">
                <a:solidFill>
                  <a:srgbClr val="8A3169"/>
                </a:solidFill>
                <a:latin typeface="DIN-Medium"/>
                <a:cs typeface="DIN-Medium"/>
              </a:rPr>
              <a:t>Five predictions (that ignore the money)</a:t>
            </a:r>
          </a:p>
        </p:txBody>
      </p:sp>
      <p:sp>
        <p:nvSpPr>
          <p:cNvPr id="16" name="Oval 2"/>
          <p:cNvSpPr>
            <a:spLocks noChangeArrowheads="1"/>
          </p:cNvSpPr>
          <p:nvPr/>
        </p:nvSpPr>
        <p:spPr bwMode="gray">
          <a:xfrm>
            <a:off x="738553" y="1709346"/>
            <a:ext cx="204422" cy="221456"/>
          </a:xfrm>
          <a:prstGeom prst="ellipse">
            <a:avLst/>
          </a:prstGeom>
          <a:solidFill>
            <a:srgbClr val="4D4D4D"/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fontAlgn="base">
              <a:defRPr/>
            </a:pPr>
            <a:r>
              <a:rPr lang="en-GB" sz="1050" b="1" kern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8" name="Oval 3"/>
          <p:cNvSpPr>
            <a:spLocks noChangeArrowheads="1"/>
          </p:cNvSpPr>
          <p:nvPr/>
        </p:nvSpPr>
        <p:spPr bwMode="gray">
          <a:xfrm>
            <a:off x="738553" y="2043944"/>
            <a:ext cx="204422" cy="221456"/>
          </a:xfrm>
          <a:prstGeom prst="ellipse">
            <a:avLst/>
          </a:prstGeom>
          <a:solidFill>
            <a:srgbClr val="4D4D4D"/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fontAlgn="base">
              <a:defRPr/>
            </a:pPr>
            <a:r>
              <a:rPr lang="en-GB" sz="1050" b="1" kern="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19" name="Oval 4"/>
          <p:cNvSpPr>
            <a:spLocks noChangeArrowheads="1"/>
          </p:cNvSpPr>
          <p:nvPr/>
        </p:nvSpPr>
        <p:spPr bwMode="gray">
          <a:xfrm>
            <a:off x="738553" y="2363980"/>
            <a:ext cx="204422" cy="221456"/>
          </a:xfrm>
          <a:prstGeom prst="ellipse">
            <a:avLst/>
          </a:prstGeom>
          <a:solidFill>
            <a:srgbClr val="4D4D4D"/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fontAlgn="base">
              <a:defRPr/>
            </a:pPr>
            <a:r>
              <a:rPr lang="en-GB" sz="1050" b="1" kern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20" name="Oval 5"/>
          <p:cNvSpPr>
            <a:spLocks noChangeArrowheads="1"/>
          </p:cNvSpPr>
          <p:nvPr/>
        </p:nvSpPr>
        <p:spPr bwMode="gray">
          <a:xfrm>
            <a:off x="738553" y="2700015"/>
            <a:ext cx="204422" cy="221456"/>
          </a:xfrm>
          <a:prstGeom prst="ellipse">
            <a:avLst/>
          </a:prstGeom>
          <a:solidFill>
            <a:srgbClr val="4D4D4D"/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fontAlgn="base">
              <a:defRPr/>
            </a:pPr>
            <a:r>
              <a:rPr lang="en-GB" sz="1050" b="1" kern="0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21" name="Oval 5"/>
          <p:cNvSpPr>
            <a:spLocks noChangeArrowheads="1"/>
          </p:cNvSpPr>
          <p:nvPr/>
        </p:nvSpPr>
        <p:spPr bwMode="gray">
          <a:xfrm>
            <a:off x="738553" y="3289563"/>
            <a:ext cx="204422" cy="221456"/>
          </a:xfrm>
          <a:prstGeom prst="ellipse">
            <a:avLst/>
          </a:prstGeom>
          <a:solidFill>
            <a:srgbClr val="4D4D4D"/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fontAlgn="base">
              <a:defRPr/>
            </a:pPr>
            <a:r>
              <a:rPr lang="en-GB" sz="1050" b="1" kern="0" dirty="0">
                <a:solidFill>
                  <a:srgbClr val="FFFFFF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568250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542461" y="2448732"/>
            <a:ext cx="7704073" cy="1699936"/>
          </a:xfrm>
          <a:prstGeom prst="rect">
            <a:avLst/>
          </a:prstGeom>
        </p:spPr>
        <p:txBody>
          <a:bodyPr vert="horz" lIns="91438" tIns="45719" rIns="91438" bIns="45719" rtlCol="0"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sz="1800" dirty="0">
                <a:latin typeface="DIN-Medium"/>
                <a:cs typeface="DIN-Medium"/>
              </a:rPr>
              <a:t>Richard Humphries </a:t>
            </a:r>
            <a:r>
              <a:rPr lang="mr-IN" sz="1800" dirty="0">
                <a:latin typeface="DIN-Medium"/>
                <a:cs typeface="DIN-Medium"/>
              </a:rPr>
              <a:t>–</a:t>
            </a:r>
            <a:r>
              <a:rPr lang="en-GB" sz="1800" dirty="0">
                <a:latin typeface="DIN-Medium"/>
                <a:cs typeface="DIN-Medium"/>
              </a:rPr>
              <a:t> Kings Fund</a:t>
            </a:r>
          </a:p>
          <a:p>
            <a:pPr algn="l"/>
            <a:r>
              <a:rPr lang="en-US" sz="1800" dirty="0">
                <a:latin typeface="DIN-Medium"/>
                <a:cs typeface="DIN-Medium"/>
              </a:rPr>
              <a:t>Chaired by: Cllr Colin Noble, CCN Spokesman for Health and Social C</a:t>
            </a:r>
            <a:r>
              <a:rPr lang="en-US" sz="1800" dirty="0" smtClean="0">
                <a:latin typeface="DIN-Medium"/>
                <a:cs typeface="DIN-Medium"/>
              </a:rPr>
              <a:t>are </a:t>
            </a:r>
            <a:endParaRPr lang="en-GB" sz="1800" dirty="0">
              <a:latin typeface="DIN-Medium"/>
              <a:cs typeface="DIN-Medium"/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542460" y="1435636"/>
            <a:ext cx="7280740" cy="1013096"/>
          </a:xfrm>
          <a:prstGeom prst="rect">
            <a:avLst/>
          </a:prstGeom>
        </p:spPr>
        <p:txBody>
          <a:bodyPr lIns="91438" tIns="45719" rIns="91438" bIns="45719"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200" dirty="0">
                <a:solidFill>
                  <a:srgbClr val="8A3169"/>
                </a:solidFill>
                <a:latin typeface="DIN-Medium"/>
                <a:cs typeface="DIN-Medium"/>
              </a:rPr>
              <a:t>A Sustainable Solution to Social Care:</a:t>
            </a:r>
          </a:p>
          <a:p>
            <a:pPr algn="l"/>
            <a:r>
              <a:rPr lang="en-US" sz="2000" dirty="0">
                <a:solidFill>
                  <a:srgbClr val="8A3169"/>
                </a:solidFill>
                <a:latin typeface="DIN-Medium"/>
                <a:cs typeface="DIN-Medium"/>
              </a:rPr>
              <a:t>CCN’s approach to the Social </a:t>
            </a:r>
            <a:r>
              <a:rPr lang="en-US" sz="2000" dirty="0" smtClean="0">
                <a:solidFill>
                  <a:srgbClr val="8A3169"/>
                </a:solidFill>
                <a:latin typeface="DIN-Medium"/>
                <a:cs typeface="DIN-Medium"/>
              </a:rPr>
              <a:t>Care </a:t>
            </a:r>
            <a:r>
              <a:rPr lang="en-US" sz="2000" dirty="0">
                <a:solidFill>
                  <a:srgbClr val="8A3169"/>
                </a:solidFill>
                <a:latin typeface="DIN-Medium"/>
                <a:cs typeface="DIN-Medium"/>
              </a:rPr>
              <a:t>White Paper</a:t>
            </a:r>
          </a:p>
        </p:txBody>
      </p:sp>
    </p:spTree>
    <p:extLst>
      <p:ext uri="{BB962C8B-B14F-4D97-AF65-F5344CB8AC3E}">
        <p14:creationId xmlns:p14="http://schemas.microsoft.com/office/powerpoint/2010/main" val="1218170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74297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Default Design">
  <a:themeElements>
    <a:clrScheme name="1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Default Design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English (UK)">
  <a:themeElements>
    <a:clrScheme name="Custom 2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0000E1"/>
      </a:hlink>
      <a:folHlink>
        <a:srgbClr val="0000E1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Firm Format - English (UK)">
  <a:themeElements>
    <a:clrScheme name="Custom 2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0000E1"/>
      </a:hlink>
      <a:folHlink>
        <a:srgbClr val="0000E1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4_Firm Format - English (UK)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Firm Format - English (UK)">
  <a:themeElements>
    <a:clrScheme name="Custom 2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0000E1"/>
      </a:hlink>
      <a:folHlink>
        <a:srgbClr val="0000E1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5_Firm Format - English (UK)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26_Firm Format - English (UK)">
  <a:themeElements>
    <a:clrScheme name="Flow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Version xmlns="http://schemas.microsoft.com/sharepoint/v3/fields" xsi:nil="true"/>
    <_Status xmlns="http://schemas.microsoft.com/sharepoint/v3/fields">Not Started</_Statu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E64AEEDD9B7A4D93545ACBE97D4615" ma:contentTypeVersion="2" ma:contentTypeDescription="Create a new document." ma:contentTypeScope="" ma:versionID="f49002b78e3a4a71b814eef46a983816">
  <xsd:schema xmlns:xsd="http://www.w3.org/2001/XMLSchema" xmlns:xs="http://www.w3.org/2001/XMLSchema" xmlns:p="http://schemas.microsoft.com/office/2006/metadata/properties" xmlns:ns2="http://schemas.microsoft.com/sharepoint/v3/fields" targetNamespace="http://schemas.microsoft.com/office/2006/metadata/properties" ma:root="true" ma:fieldsID="38f6db2dd0d9a0cf6a8dc37be32b365b" ns2:_=""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_Status" minOccurs="0"/>
                <xsd:element ref="ns2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Status" ma:index="8" nillable="true" ma:displayName="Status" ma:default="Not Started" ma:internalName="_Status">
      <xsd:simpleType>
        <xsd:union memberTypes="dms:Text">
          <xsd:simpleType>
            <xsd:restriction base="dms:Choice">
              <xsd:enumeration value="Not Started"/>
              <xsd:enumeration value="Draft"/>
              <xsd:enumeration value="Reviewed"/>
              <xsd:enumeration value="Scheduled"/>
              <xsd:enumeration value="Published"/>
              <xsd:enumeration value="Final"/>
              <xsd:enumeration value="Expired"/>
            </xsd:restriction>
          </xsd:simpleType>
        </xsd:union>
      </xsd:simpleType>
    </xsd:element>
    <xsd:element name="_Version" ma:index="9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 ma:displayName="Status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B6F2769-7194-4217-93D3-3AF3A4742282}">
  <ds:schemaRefs>
    <ds:schemaRef ds:uri="http://purl.org/dc/elements/1.1/"/>
    <ds:schemaRef ds:uri="http://purl.org/dc/dcmitype/"/>
    <ds:schemaRef ds:uri="http://schemas.microsoft.com/office/2006/metadata/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schemas.microsoft.com/sharepoint/v3/field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E4214858-785C-42F7-BE66-6D0E79395F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7D2A1B0-FF3E-4009-940D-AED0EB70AA2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NEMasterTemplateForThemePreview.pptx</Template>
  <TotalTime>1350</TotalTime>
  <Words>163</Words>
  <Application>Microsoft Office PowerPoint</Application>
  <PresentationFormat>On-screen Show (16:9)</PresentationFormat>
  <Paragraphs>23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5</vt:i4>
      </vt:variant>
    </vt:vector>
  </HeadingPairs>
  <TitlesOfParts>
    <vt:vector size="21" baseType="lpstr">
      <vt:lpstr>ＭＳ Ｐゴシック</vt:lpstr>
      <vt:lpstr>Arial</vt:lpstr>
      <vt:lpstr>Arial Unicode MS</vt:lpstr>
      <vt:lpstr>Calibri</vt:lpstr>
      <vt:lpstr>DIN-Medium</vt:lpstr>
      <vt:lpstr>DIN-Regular</vt:lpstr>
      <vt:lpstr>Office Theme</vt:lpstr>
      <vt:lpstr>1_Default Design</vt:lpstr>
      <vt:lpstr>Firm Format - English (UK)</vt:lpstr>
      <vt:lpstr>1_Firm Format - English (UK)</vt:lpstr>
      <vt:lpstr>24_Firm Format - English (UK)</vt:lpstr>
      <vt:lpstr>2_Firm Format - English (UK)</vt:lpstr>
      <vt:lpstr>25_Firm Format - English (UK)</vt:lpstr>
      <vt:lpstr>26_Firm Format - English (UK)</vt:lpstr>
      <vt:lpstr>Photo Editor Photo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leNewTemplate</dc:title>
  <dc:creator>Diana</dc:creator>
  <cp:lastModifiedBy>Victoria Moloney</cp:lastModifiedBy>
  <cp:revision>106</cp:revision>
  <dcterms:created xsi:type="dcterms:W3CDTF">2010-04-12T23:12:02Z</dcterms:created>
  <dcterms:modified xsi:type="dcterms:W3CDTF">2017-11-28T12:31:12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DE64AEEDD9B7A4D93545ACBE97D4615</vt:lpwstr>
  </property>
</Properties>
</file>